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ppt/charts/chart1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4939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192" userDrawn="1">
          <p15:clr>
            <a:srgbClr val="A4A3A4"/>
          </p15:clr>
        </p15:guide>
        <p15:guide id="3" pos="7469" userDrawn="1">
          <p15:clr>
            <a:srgbClr val="A4A3A4"/>
          </p15:clr>
        </p15:guide>
        <p15:guide id="4" pos="386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FBDD8"/>
    <a:srgbClr val="054990"/>
    <a:srgbClr val="0C0B45"/>
    <a:srgbClr val="81A4CC"/>
    <a:srgbClr val="23569B"/>
    <a:srgbClr val="387BB7"/>
    <a:srgbClr val="9EB7E5"/>
    <a:srgbClr val="D9D9D9"/>
    <a:srgbClr val="090C9B"/>
    <a:srgbClr val="3066B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694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1296" y="78"/>
      </p:cViewPr>
      <p:guideLst>
        <p:guide orient="horz" pos="2160"/>
        <p:guide pos="192"/>
        <p:guide pos="7469"/>
        <p:guide pos="3864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>
      <p:cViewPr varScale="1">
        <p:scale>
          <a:sx n="62" d="100"/>
          <a:sy n="62" d="100"/>
        </p:scale>
        <p:origin x="3154" y="4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0AB-4019-9F5A-EA81CCC028DA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0AB-4019-9F5A-EA81CCC028DA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0AB-4019-9F5A-EA81CCC028D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337382943"/>
        <c:axId val="1"/>
      </c:barChart>
      <c:catAx>
        <c:axId val="337382943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496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3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"/>
        <c:crosses val="autoZero"/>
        <c:auto val="1"/>
        <c:lblAlgn val="ctr"/>
        <c:lblOffset val="100"/>
        <c:noMultiLvlLbl val="0"/>
      </c:catAx>
      <c:valAx>
        <c:axId val="1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3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37382943"/>
        <c:crosses val="autoZero"/>
        <c:crossBetween val="between"/>
      </c:valAx>
      <c:spPr>
        <a:noFill/>
        <a:ln w="25324">
          <a:noFill/>
        </a:ln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6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6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2588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FC4A6DC3-43E5-2BE0-A8FA-14D095567573}"/>
              </a:ext>
            </a:extLst>
          </p:cNvPr>
          <p:cNvSpPr/>
          <p:nvPr userDrawn="1"/>
        </p:nvSpPr>
        <p:spPr>
          <a:xfrm>
            <a:off x="5412708" y="0"/>
            <a:ext cx="6779292" cy="6858000"/>
          </a:xfrm>
          <a:custGeom>
            <a:avLst/>
            <a:gdLst>
              <a:gd name="connsiteX0" fmla="*/ 762028 w 6779292"/>
              <a:gd name="connsiteY0" fmla="*/ 0 h 6858000"/>
              <a:gd name="connsiteX1" fmla="*/ 4920012 w 6779292"/>
              <a:gd name="connsiteY1" fmla="*/ 0 h 6858000"/>
              <a:gd name="connsiteX2" fmla="*/ 4998692 w 6779292"/>
              <a:gd name="connsiteY2" fmla="*/ 0 h 6858000"/>
              <a:gd name="connsiteX3" fmla="*/ 6779292 w 6779292"/>
              <a:gd name="connsiteY3" fmla="*/ 0 h 6858000"/>
              <a:gd name="connsiteX4" fmla="*/ 6779292 w 6779292"/>
              <a:gd name="connsiteY4" fmla="*/ 2286000 h 6858000"/>
              <a:gd name="connsiteX5" fmla="*/ 6779292 w 6779292"/>
              <a:gd name="connsiteY5" fmla="*/ 4572000 h 6858000"/>
              <a:gd name="connsiteX6" fmla="*/ 6779292 w 6779292"/>
              <a:gd name="connsiteY6" fmla="*/ 6858000 h 6858000"/>
              <a:gd name="connsiteX7" fmla="*/ 0 w 6779292"/>
              <a:gd name="connsiteY7" fmla="*/ 6858000 h 6858000"/>
              <a:gd name="connsiteX8" fmla="*/ 0 w 6779292"/>
              <a:gd name="connsiteY8" fmla="*/ 5943572 h 6858000"/>
              <a:gd name="connsiteX9" fmla="*/ 0 w 6779292"/>
              <a:gd name="connsiteY9" fmla="*/ 2286000 h 6858000"/>
              <a:gd name="connsiteX10" fmla="*/ 0 w 6779292"/>
              <a:gd name="connsiteY10" fmla="*/ 762028 h 6858000"/>
              <a:gd name="connsiteX11" fmla="*/ 762028 w 6779292"/>
              <a:gd name="connsiteY11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779292" h="6858000">
                <a:moveTo>
                  <a:pt x="762028" y="0"/>
                </a:moveTo>
                <a:lnTo>
                  <a:pt x="4920012" y="0"/>
                </a:lnTo>
                <a:lnTo>
                  <a:pt x="4998692" y="0"/>
                </a:lnTo>
                <a:lnTo>
                  <a:pt x="6779292" y="0"/>
                </a:lnTo>
                <a:lnTo>
                  <a:pt x="6779292" y="2286000"/>
                </a:lnTo>
                <a:lnTo>
                  <a:pt x="6779292" y="4572000"/>
                </a:lnTo>
                <a:lnTo>
                  <a:pt x="6779292" y="6858000"/>
                </a:lnTo>
                <a:lnTo>
                  <a:pt x="0" y="6858000"/>
                </a:lnTo>
                <a:lnTo>
                  <a:pt x="0" y="5943572"/>
                </a:lnTo>
                <a:lnTo>
                  <a:pt x="0" y="2286000"/>
                </a:lnTo>
                <a:lnTo>
                  <a:pt x="0" y="762028"/>
                </a:lnTo>
                <a:cubicBezTo>
                  <a:pt x="0" y="341172"/>
                  <a:pt x="341172" y="0"/>
                  <a:pt x="762028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608BA72E-4191-93ED-5F63-70653097CA4A}"/>
              </a:ext>
            </a:extLst>
          </p:cNvPr>
          <p:cNvSpPr/>
          <p:nvPr userDrawn="1"/>
        </p:nvSpPr>
        <p:spPr>
          <a:xfrm>
            <a:off x="10632898" y="-19404"/>
            <a:ext cx="1559102" cy="1924468"/>
          </a:xfrm>
          <a:custGeom>
            <a:avLst/>
            <a:gdLst>
              <a:gd name="connsiteX0" fmla="*/ 46683 w 1559102"/>
              <a:gd name="connsiteY0" fmla="*/ 0 h 1924468"/>
              <a:gd name="connsiteX1" fmla="*/ 648526 w 1559102"/>
              <a:gd name="connsiteY1" fmla="*/ 0 h 1924468"/>
              <a:gd name="connsiteX2" fmla="*/ 618867 w 1559102"/>
              <a:gd name="connsiteY2" fmla="*/ 81034 h 1924468"/>
              <a:gd name="connsiteX3" fmla="*/ 574909 w 1559102"/>
              <a:gd name="connsiteY3" fmla="*/ 371792 h 1924468"/>
              <a:gd name="connsiteX4" fmla="*/ 1552675 w 1559102"/>
              <a:gd name="connsiteY4" fmla="*/ 1349558 h 1924468"/>
              <a:gd name="connsiteX5" fmla="*/ 1559102 w 1559102"/>
              <a:gd name="connsiteY5" fmla="*/ 1349233 h 1924468"/>
              <a:gd name="connsiteX6" fmla="*/ 1559102 w 1559102"/>
              <a:gd name="connsiteY6" fmla="*/ 1924144 h 1924468"/>
              <a:gd name="connsiteX7" fmla="*/ 1552676 w 1559102"/>
              <a:gd name="connsiteY7" fmla="*/ 1924468 h 1924468"/>
              <a:gd name="connsiteX8" fmla="*/ 0 w 1559102"/>
              <a:gd name="connsiteY8" fmla="*/ 371793 h 1924468"/>
              <a:gd name="connsiteX9" fmla="*/ 31545 w 1559102"/>
              <a:gd name="connsiteY9" fmla="*/ 58874 h 19244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59102" h="1924468">
                <a:moveTo>
                  <a:pt x="46683" y="0"/>
                </a:moveTo>
                <a:lnTo>
                  <a:pt x="648526" y="0"/>
                </a:lnTo>
                <a:lnTo>
                  <a:pt x="618867" y="81034"/>
                </a:lnTo>
                <a:cubicBezTo>
                  <a:pt x="590299" y="172884"/>
                  <a:pt x="574909" y="270541"/>
                  <a:pt x="574909" y="371792"/>
                </a:cubicBezTo>
                <a:cubicBezTo>
                  <a:pt x="574909" y="911797"/>
                  <a:pt x="1012670" y="1349558"/>
                  <a:pt x="1552675" y="1349558"/>
                </a:cubicBezTo>
                <a:lnTo>
                  <a:pt x="1559102" y="1349233"/>
                </a:lnTo>
                <a:lnTo>
                  <a:pt x="1559102" y="1924144"/>
                </a:lnTo>
                <a:lnTo>
                  <a:pt x="1552676" y="1924468"/>
                </a:lnTo>
                <a:cubicBezTo>
                  <a:pt x="695157" y="1924468"/>
                  <a:pt x="0" y="1229312"/>
                  <a:pt x="0" y="371793"/>
                </a:cubicBezTo>
                <a:cubicBezTo>
                  <a:pt x="0" y="264603"/>
                  <a:pt x="10862" y="159950"/>
                  <a:pt x="31545" y="58874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6014405" y="2891616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527130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12813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Google Shape;317;p72">
            <a:extLst>
              <a:ext uri="{FF2B5EF4-FFF2-40B4-BE49-F238E27FC236}">
                <a16:creationId xmlns:a16="http://schemas.microsoft.com/office/drawing/2014/main" id="{B0B24D8E-B221-BCE6-395F-D87EA1F5C0D0}"/>
              </a:ext>
            </a:extLst>
          </p:cNvPr>
          <p:cNvSpPr/>
          <p:nvPr userDrawn="1"/>
        </p:nvSpPr>
        <p:spPr>
          <a:xfrm>
            <a:off x="2786" y="1967"/>
            <a:ext cx="12189215" cy="5132220"/>
          </a:xfrm>
          <a:custGeom>
            <a:avLst/>
            <a:gdLst/>
            <a:ahLst/>
            <a:cxnLst/>
            <a:rect l="l" t="t" r="r" b="b"/>
            <a:pathLst>
              <a:path w="9143999" h="4734198" extrusionOk="0">
                <a:moveTo>
                  <a:pt x="0" y="0"/>
                </a:moveTo>
                <a:lnTo>
                  <a:pt x="9143999" y="0"/>
                </a:lnTo>
                <a:lnTo>
                  <a:pt x="9143999" y="4734198"/>
                </a:lnTo>
                <a:lnTo>
                  <a:pt x="5973097" y="4719484"/>
                </a:lnTo>
                <a:cubicBezTo>
                  <a:pt x="5685504" y="4751439"/>
                  <a:pt x="5493774" y="4650657"/>
                  <a:pt x="5375788" y="4409767"/>
                </a:cubicBezTo>
                <a:lnTo>
                  <a:pt x="3554362" y="1113503"/>
                </a:lnTo>
                <a:cubicBezTo>
                  <a:pt x="3419169" y="857864"/>
                  <a:pt x="3202858" y="771832"/>
                  <a:pt x="2993923" y="766916"/>
                </a:cubicBezTo>
                <a:lnTo>
                  <a:pt x="0" y="766916"/>
                </a:ln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sym typeface="Arial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480380" y="3771292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7C6E95C-F9B2-31ED-1261-5E82E52231DC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09622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214655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137BB06-460E-4EE0-8DF4-57C378BE2D90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540545" y="6650296"/>
            <a:ext cx="1651455" cy="207076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1200">
                <a:solidFill>
                  <a:schemeClr val="bg1"/>
                </a:solidFill>
                <a:latin typeface="Crimson Pro" pitchFamily="2" charset="0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-1" y="1"/>
            <a:ext cx="419099" cy="167640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72C63254-3ED3-7F4A-55ED-77911D6BFA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23069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Google Shape;126;p8">
            <a:extLst>
              <a:ext uri="{FF2B5EF4-FFF2-40B4-BE49-F238E27FC236}">
                <a16:creationId xmlns:a16="http://schemas.microsoft.com/office/drawing/2014/main" id="{42B1C2E2-410D-4178-8707-30E8CFC13D66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AB4896-8513-49B3-883C-8C8E512092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9099" y="2694530"/>
            <a:ext cx="11329205" cy="734470"/>
          </a:xfrm>
          <a:prstGeom prst="rect">
            <a:avLst/>
          </a:prstGeom>
        </p:spPr>
        <p:txBody>
          <a:bodyPr vert="horz"/>
          <a:lstStyle>
            <a:lvl1pPr>
              <a:defRPr sz="5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01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E0ED0066-C241-49ED-89D6-10AD2C4C22C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099" y="3521558"/>
            <a:ext cx="11283166" cy="43492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800" b="1">
                <a:solidFill>
                  <a:schemeClr val="accent1"/>
                </a:solidFill>
                <a:latin typeface="+mn-lt"/>
              </a:defRPr>
            </a:lvl1pPr>
            <a:lvl2pPr marL="457200" indent="0">
              <a:buFontTx/>
              <a:buNone/>
              <a:defRPr b="1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Divider title</a:t>
            </a:r>
          </a:p>
        </p:txBody>
      </p:sp>
    </p:spTree>
    <p:extLst>
      <p:ext uri="{BB962C8B-B14F-4D97-AF65-F5344CB8AC3E}">
        <p14:creationId xmlns:p14="http://schemas.microsoft.com/office/powerpoint/2010/main" val="19730136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70" imgH="469" progId="TCLayout.ActiveDocument.1">
                  <p:embed/>
                </p:oleObj>
              </mc:Choice>
              <mc:Fallback>
                <p:oleObj name="think-cell Slide" r:id="rId7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49" r:id="rId3"/>
    <p:sldLayoutId id="2147483655" r:id="rId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7.xml"/><Relationship Id="rId5" Type="http://schemas.openxmlformats.org/officeDocument/2006/relationships/chart" Target="../charts/chart1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753C20D-CEEE-6CB4-7DD8-BAD1FB4A3B6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692B4F74-3931-4F44-5CEF-36185A5A60D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92B4F74-3931-4F44-5CEF-36185A5A60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C3E393A-52D5-D699-33C8-DA7830F4FC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Clustered Column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F9BA1C1B-3D10-6429-A7A1-40A248B61570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1</a:t>
            </a:fld>
            <a:endParaRPr lang="en-US" sz="1200" dirty="0">
              <a:solidFill>
                <a:schemeClr val="bg1"/>
              </a:solidFill>
            </a:endParaRPr>
          </a:p>
        </p:txBody>
      </p:sp>
      <p:graphicFrame>
        <p:nvGraphicFramePr>
          <p:cNvPr id="29" name="Chart 33">
            <a:extLst>
              <a:ext uri="{FF2B5EF4-FFF2-40B4-BE49-F238E27FC236}">
                <a16:creationId xmlns:a16="http://schemas.microsoft.com/office/drawing/2014/main" id="{158086E3-36ED-9554-03E5-B3EEC9085B48}"/>
              </a:ext>
            </a:extLst>
          </p:cNvPr>
          <p:cNvGraphicFramePr>
            <a:graphicFrameLocks/>
          </p:cNvGraphicFramePr>
          <p:nvPr/>
        </p:nvGraphicFramePr>
        <p:xfrm>
          <a:off x="481013" y="2823878"/>
          <a:ext cx="11233150" cy="34845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30" name="Straight Arrow Connector 29">
            <a:extLst>
              <a:ext uri="{FF2B5EF4-FFF2-40B4-BE49-F238E27FC236}">
                <a16:creationId xmlns:a16="http://schemas.microsoft.com/office/drawing/2014/main" id="{E4900124-CECF-478A-6A3A-2E3E1C7B0162}"/>
              </a:ext>
            </a:extLst>
          </p:cNvPr>
          <p:cNvCxnSpPr/>
          <p:nvPr/>
        </p:nvCxnSpPr>
        <p:spPr>
          <a:xfrm flipV="1">
            <a:off x="1529377" y="2458753"/>
            <a:ext cx="0" cy="1422400"/>
          </a:xfrm>
          <a:prstGeom prst="straightConnector1">
            <a:avLst/>
          </a:prstGeom>
          <a:ln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Arrow Connector 30">
            <a:extLst>
              <a:ext uri="{FF2B5EF4-FFF2-40B4-BE49-F238E27FC236}">
                <a16:creationId xmlns:a16="http://schemas.microsoft.com/office/drawing/2014/main" id="{16D5663A-E8CF-6E18-22BF-CA17985BEDD0}"/>
              </a:ext>
            </a:extLst>
          </p:cNvPr>
          <p:cNvCxnSpPr/>
          <p:nvPr/>
        </p:nvCxnSpPr>
        <p:spPr>
          <a:xfrm flipV="1">
            <a:off x="2124689" y="1726915"/>
            <a:ext cx="0" cy="2865438"/>
          </a:xfrm>
          <a:prstGeom prst="straightConnector1">
            <a:avLst/>
          </a:prstGeom>
          <a:ln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Arrow Connector 31">
            <a:extLst>
              <a:ext uri="{FF2B5EF4-FFF2-40B4-BE49-F238E27FC236}">
                <a16:creationId xmlns:a16="http://schemas.microsoft.com/office/drawing/2014/main" id="{297BC72D-3AA2-4E7C-4F9C-9F8CAB79CFBD}"/>
              </a:ext>
            </a:extLst>
          </p:cNvPr>
          <p:cNvCxnSpPr/>
          <p:nvPr/>
        </p:nvCxnSpPr>
        <p:spPr>
          <a:xfrm flipV="1">
            <a:off x="2719388" y="2458753"/>
            <a:ext cx="0" cy="2295525"/>
          </a:xfrm>
          <a:prstGeom prst="straightConnector1">
            <a:avLst/>
          </a:prstGeom>
          <a:ln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Arrow Connector 32">
            <a:extLst>
              <a:ext uri="{FF2B5EF4-FFF2-40B4-BE49-F238E27FC236}">
                <a16:creationId xmlns:a16="http://schemas.microsoft.com/office/drawing/2014/main" id="{71CE522D-0453-9B9C-C3F6-35BD4734086C}"/>
              </a:ext>
            </a:extLst>
          </p:cNvPr>
          <p:cNvCxnSpPr/>
          <p:nvPr/>
        </p:nvCxnSpPr>
        <p:spPr>
          <a:xfrm flipV="1">
            <a:off x="4224031" y="2458753"/>
            <a:ext cx="0" cy="2133600"/>
          </a:xfrm>
          <a:prstGeom prst="straightConnector1">
            <a:avLst/>
          </a:prstGeom>
          <a:ln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>
            <a:extLst>
              <a:ext uri="{FF2B5EF4-FFF2-40B4-BE49-F238E27FC236}">
                <a16:creationId xmlns:a16="http://schemas.microsoft.com/office/drawing/2014/main" id="{0D3D1723-3841-0B50-2E9C-F1AA2BADA267}"/>
              </a:ext>
            </a:extLst>
          </p:cNvPr>
          <p:cNvCxnSpPr/>
          <p:nvPr/>
        </p:nvCxnSpPr>
        <p:spPr>
          <a:xfrm flipV="1">
            <a:off x="4827588" y="1726915"/>
            <a:ext cx="0" cy="1990725"/>
          </a:xfrm>
          <a:prstGeom prst="straightConnector1">
            <a:avLst/>
          </a:prstGeom>
          <a:ln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Arrow Connector 34">
            <a:extLst>
              <a:ext uri="{FF2B5EF4-FFF2-40B4-BE49-F238E27FC236}">
                <a16:creationId xmlns:a16="http://schemas.microsoft.com/office/drawing/2014/main" id="{21BA848C-B6F2-177E-D1F1-1544BFB07DD2}"/>
              </a:ext>
            </a:extLst>
          </p:cNvPr>
          <p:cNvCxnSpPr/>
          <p:nvPr/>
        </p:nvCxnSpPr>
        <p:spPr>
          <a:xfrm flipV="1">
            <a:off x="5428584" y="2458753"/>
            <a:ext cx="0" cy="2295525"/>
          </a:xfrm>
          <a:prstGeom prst="straightConnector1">
            <a:avLst/>
          </a:prstGeom>
          <a:ln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>
            <a:extLst>
              <a:ext uri="{FF2B5EF4-FFF2-40B4-BE49-F238E27FC236}">
                <a16:creationId xmlns:a16="http://schemas.microsoft.com/office/drawing/2014/main" id="{908C38CE-F323-6378-AFF4-5050EA32B9C5}"/>
              </a:ext>
            </a:extLst>
          </p:cNvPr>
          <p:cNvCxnSpPr/>
          <p:nvPr/>
        </p:nvCxnSpPr>
        <p:spPr>
          <a:xfrm flipV="1">
            <a:off x="6934814" y="2458753"/>
            <a:ext cx="0" cy="1665287"/>
          </a:xfrm>
          <a:prstGeom prst="straightConnector1">
            <a:avLst/>
          </a:prstGeom>
          <a:ln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Arrow Connector 36">
            <a:extLst>
              <a:ext uri="{FF2B5EF4-FFF2-40B4-BE49-F238E27FC236}">
                <a16:creationId xmlns:a16="http://schemas.microsoft.com/office/drawing/2014/main" id="{1F0F624B-E1AC-C126-5D1B-6A61FA51ADCB}"/>
              </a:ext>
            </a:extLst>
          </p:cNvPr>
          <p:cNvCxnSpPr/>
          <p:nvPr/>
        </p:nvCxnSpPr>
        <p:spPr>
          <a:xfrm flipV="1">
            <a:off x="7521268" y="1726915"/>
            <a:ext cx="0" cy="3157538"/>
          </a:xfrm>
          <a:prstGeom prst="straightConnector1">
            <a:avLst/>
          </a:prstGeom>
          <a:ln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>
            <a:extLst>
              <a:ext uri="{FF2B5EF4-FFF2-40B4-BE49-F238E27FC236}">
                <a16:creationId xmlns:a16="http://schemas.microsoft.com/office/drawing/2014/main" id="{33FEAF5F-97B4-F46A-C261-64958D0ED59D}"/>
              </a:ext>
            </a:extLst>
          </p:cNvPr>
          <p:cNvCxnSpPr/>
          <p:nvPr/>
        </p:nvCxnSpPr>
        <p:spPr>
          <a:xfrm flipV="1">
            <a:off x="8123238" y="2458753"/>
            <a:ext cx="0" cy="1887537"/>
          </a:xfrm>
          <a:prstGeom prst="straightConnector1">
            <a:avLst/>
          </a:prstGeom>
          <a:ln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Arrow Connector 38">
            <a:extLst>
              <a:ext uri="{FF2B5EF4-FFF2-40B4-BE49-F238E27FC236}">
                <a16:creationId xmlns:a16="http://schemas.microsoft.com/office/drawing/2014/main" id="{ED8E9CCA-6DBC-6A7B-15CB-45048BD09CCB}"/>
              </a:ext>
            </a:extLst>
          </p:cNvPr>
          <p:cNvCxnSpPr/>
          <p:nvPr/>
        </p:nvCxnSpPr>
        <p:spPr>
          <a:xfrm flipV="1">
            <a:off x="9626907" y="2458753"/>
            <a:ext cx="0" cy="1246187"/>
          </a:xfrm>
          <a:prstGeom prst="straightConnector1">
            <a:avLst/>
          </a:prstGeom>
          <a:ln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Arrow Connector 39">
            <a:extLst>
              <a:ext uri="{FF2B5EF4-FFF2-40B4-BE49-F238E27FC236}">
                <a16:creationId xmlns:a16="http://schemas.microsoft.com/office/drawing/2014/main" id="{01A4B209-5FE0-0248-ACCA-8B856C000393}"/>
              </a:ext>
            </a:extLst>
          </p:cNvPr>
          <p:cNvCxnSpPr/>
          <p:nvPr/>
        </p:nvCxnSpPr>
        <p:spPr>
          <a:xfrm flipV="1">
            <a:off x="10230464" y="1726915"/>
            <a:ext cx="0" cy="2659063"/>
          </a:xfrm>
          <a:prstGeom prst="straightConnector1">
            <a:avLst/>
          </a:prstGeom>
          <a:ln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Arrow Connector 40">
            <a:extLst>
              <a:ext uri="{FF2B5EF4-FFF2-40B4-BE49-F238E27FC236}">
                <a16:creationId xmlns:a16="http://schemas.microsoft.com/office/drawing/2014/main" id="{0D11E4B4-4E05-CAB4-6DEB-3597B91627FB}"/>
              </a:ext>
            </a:extLst>
          </p:cNvPr>
          <p:cNvCxnSpPr/>
          <p:nvPr/>
        </p:nvCxnSpPr>
        <p:spPr>
          <a:xfrm flipV="1">
            <a:off x="10824189" y="2458753"/>
            <a:ext cx="0" cy="963612"/>
          </a:xfrm>
          <a:prstGeom prst="straightConnector1">
            <a:avLst/>
          </a:prstGeom>
          <a:ln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TextBox 41">
            <a:extLst>
              <a:ext uri="{FF2B5EF4-FFF2-40B4-BE49-F238E27FC236}">
                <a16:creationId xmlns:a16="http://schemas.microsoft.com/office/drawing/2014/main" id="{FAFCAD28-1F5F-41B8-CFAA-C7D13E9E904E}"/>
              </a:ext>
            </a:extLst>
          </p:cNvPr>
          <p:cNvSpPr txBox="1"/>
          <p:nvPr/>
        </p:nvSpPr>
        <p:spPr>
          <a:xfrm>
            <a:off x="1113787" y="2028540"/>
            <a:ext cx="830262" cy="36933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b="1" dirty="0"/>
              <a:t>40%</a:t>
            </a:r>
            <a:endParaRPr lang="en-US" b="1" dirty="0"/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87BBF228-F499-87C2-0011-B88EA539C025}"/>
              </a:ext>
            </a:extLst>
          </p:cNvPr>
          <p:cNvSpPr txBox="1"/>
          <p:nvPr/>
        </p:nvSpPr>
        <p:spPr>
          <a:xfrm>
            <a:off x="1784939" y="1297134"/>
            <a:ext cx="830262" cy="36933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b="1" dirty="0"/>
              <a:t>50%</a:t>
            </a:r>
            <a:endParaRPr lang="en-US" b="1" dirty="0"/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C504C932-A0FC-4133-D85E-4AC124AE0FF7}"/>
              </a:ext>
            </a:extLst>
          </p:cNvPr>
          <p:cNvSpPr txBox="1"/>
          <p:nvPr/>
        </p:nvSpPr>
        <p:spPr>
          <a:xfrm>
            <a:off x="2352496" y="2022190"/>
            <a:ext cx="830263" cy="36933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b="1" dirty="0"/>
              <a:t>30%</a:t>
            </a:r>
            <a:endParaRPr lang="en-US" b="1" dirty="0"/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61855AFD-F0D2-0EF6-77F4-C8812F4FC00C}"/>
              </a:ext>
            </a:extLst>
          </p:cNvPr>
          <p:cNvSpPr txBox="1"/>
          <p:nvPr/>
        </p:nvSpPr>
        <p:spPr>
          <a:xfrm>
            <a:off x="3807466" y="2028749"/>
            <a:ext cx="830262" cy="36933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b="1" dirty="0"/>
              <a:t>60%</a:t>
            </a:r>
            <a:endParaRPr lang="en-US" b="1" dirty="0"/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5504A188-1413-4FD3-1529-3AABA8081B2C}"/>
              </a:ext>
            </a:extLst>
          </p:cNvPr>
          <p:cNvSpPr txBox="1"/>
          <p:nvPr/>
        </p:nvSpPr>
        <p:spPr>
          <a:xfrm>
            <a:off x="5046176" y="2022190"/>
            <a:ext cx="830262" cy="36933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b="1" dirty="0"/>
              <a:t>80%</a:t>
            </a:r>
            <a:endParaRPr lang="en-US" b="1" dirty="0"/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BBF1B5F4-B5B8-E3C6-27ED-14F36FD4981F}"/>
              </a:ext>
            </a:extLst>
          </p:cNvPr>
          <p:cNvSpPr txBox="1"/>
          <p:nvPr/>
        </p:nvSpPr>
        <p:spPr>
          <a:xfrm>
            <a:off x="4440878" y="1294178"/>
            <a:ext cx="831850" cy="36933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b="1" dirty="0"/>
              <a:t>90%</a:t>
            </a:r>
            <a:endParaRPr lang="en-US" b="1" dirty="0"/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FB68581A-E40D-9228-C994-555373E0981D}"/>
              </a:ext>
            </a:extLst>
          </p:cNvPr>
          <p:cNvSpPr txBox="1"/>
          <p:nvPr/>
        </p:nvSpPr>
        <p:spPr>
          <a:xfrm>
            <a:off x="7056988" y="1294178"/>
            <a:ext cx="1000125" cy="36933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b="1" dirty="0"/>
              <a:t>100%</a:t>
            </a:r>
            <a:endParaRPr lang="en-US" b="1" dirty="0"/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1E9F3BFC-DD68-16CD-26D3-9B124CD67693}"/>
              </a:ext>
            </a:extLst>
          </p:cNvPr>
          <p:cNvSpPr txBox="1"/>
          <p:nvPr/>
        </p:nvSpPr>
        <p:spPr>
          <a:xfrm>
            <a:off x="6511437" y="2028749"/>
            <a:ext cx="830263" cy="36933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b="1" dirty="0"/>
              <a:t>80%</a:t>
            </a:r>
            <a:endParaRPr lang="en-US" b="1" dirty="0"/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657F737B-7FAB-FE46-94C6-746CB03DE9E4}"/>
              </a:ext>
            </a:extLst>
          </p:cNvPr>
          <p:cNvSpPr txBox="1"/>
          <p:nvPr/>
        </p:nvSpPr>
        <p:spPr>
          <a:xfrm>
            <a:off x="7714945" y="2022190"/>
            <a:ext cx="830262" cy="36933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b="1" dirty="0"/>
              <a:t>30%</a:t>
            </a:r>
            <a:endParaRPr lang="en-US" b="1" dirty="0"/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5CC78EDE-F4C7-8DBA-65F8-5506CBE28291}"/>
              </a:ext>
            </a:extLst>
          </p:cNvPr>
          <p:cNvSpPr txBox="1"/>
          <p:nvPr/>
        </p:nvSpPr>
        <p:spPr>
          <a:xfrm>
            <a:off x="9212337" y="2028749"/>
            <a:ext cx="830262" cy="36933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b="1" dirty="0"/>
              <a:t>20%</a:t>
            </a:r>
            <a:endParaRPr lang="en-US" b="1" dirty="0"/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7EE49432-2BF3-5A95-4BCE-907A017A70C4}"/>
              </a:ext>
            </a:extLst>
          </p:cNvPr>
          <p:cNvSpPr txBox="1"/>
          <p:nvPr/>
        </p:nvSpPr>
        <p:spPr>
          <a:xfrm>
            <a:off x="9815332" y="1292189"/>
            <a:ext cx="830263" cy="36933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b="1" dirty="0"/>
              <a:t>10%</a:t>
            </a:r>
            <a:endParaRPr lang="en-US" b="1" dirty="0"/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FF6E9525-9168-BABA-65A2-7BD696715671}"/>
              </a:ext>
            </a:extLst>
          </p:cNvPr>
          <p:cNvSpPr txBox="1"/>
          <p:nvPr/>
        </p:nvSpPr>
        <p:spPr>
          <a:xfrm>
            <a:off x="10418096" y="2022190"/>
            <a:ext cx="831850" cy="36933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b="1" dirty="0"/>
              <a:t>80%</a:t>
            </a:r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335326345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01F54"/>
      </a:accent1>
      <a:accent2>
        <a:srgbClr val="054990"/>
      </a:accent2>
      <a:accent3>
        <a:srgbClr val="3F7CB2"/>
      </a:accent3>
      <a:accent4>
        <a:srgbClr val="81A4CC"/>
      </a:accent4>
      <a:accent5>
        <a:srgbClr val="034078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988</TotalTime>
  <Words>27</Words>
  <Application>Microsoft Office PowerPoint</Application>
  <PresentationFormat>Widescreen</PresentationFormat>
  <Paragraphs>14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Calibri</vt:lpstr>
      <vt:lpstr>Courier New</vt:lpstr>
      <vt:lpstr>Crimson Pro</vt:lpstr>
      <vt:lpstr>Roboto</vt:lpstr>
      <vt:lpstr>Wingdings</vt:lpstr>
      <vt:lpstr>Office Theme</vt:lpstr>
      <vt:lpstr>think-cell Slide</vt:lpstr>
      <vt:lpstr>Clustered Column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trategy Template</dc:title>
  <dc:subject/>
  <dc:creator>Analyst Academy LLC</dc:creator>
  <cp:keywords/>
  <dc:description/>
  <cp:lastModifiedBy>Diam Cabatay</cp:lastModifiedBy>
  <cp:revision>453</cp:revision>
  <dcterms:created xsi:type="dcterms:W3CDTF">2021-03-31T02:49:57Z</dcterms:created>
  <dcterms:modified xsi:type="dcterms:W3CDTF">2025-10-16T10:50:26Z</dcterms:modified>
  <cp:category/>
</cp:coreProperties>
</file>